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2.xml" ContentType="application/vnd.openxmlformats-officedocument.theme+xml"/>
  <Override PartName="/ppt/tags/tag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sldIdLst>
    <p:sldId id="2147375044" r:id="rId5"/>
    <p:sldId id="2147375045" r:id="rId6"/>
    <p:sldId id="2147375046" r:id="rId7"/>
  </p:sldIdLst>
  <p:sldSz cx="12192000" cy="6858000"/>
  <p:notesSz cx="9872663" cy="14301788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7E05CA1-AC1B-4432-8285-AA4CC6BACAE0}">
          <p14:sldIdLst>
            <p14:sldId id="2147375044"/>
            <p14:sldId id="2147375045"/>
            <p14:sldId id="21473750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8E3EB"/>
    <a:srgbClr val="6E78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18" autoAdjust="0"/>
    <p:restoredTop sz="95847" autoAdjust="0"/>
  </p:normalViewPr>
  <p:slideViewPr>
    <p:cSldViewPr snapToGrid="0">
      <p:cViewPr varScale="1">
        <p:scale>
          <a:sx n="95" d="100"/>
          <a:sy n="95" d="100"/>
        </p:scale>
        <p:origin x="5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8154" cy="717573"/>
          </a:xfrm>
          <a:prstGeom prst="rect">
            <a:avLst/>
          </a:prstGeom>
        </p:spPr>
        <p:txBody>
          <a:bodyPr vert="horz" lIns="138138" tIns="69069" rIns="138138" bIns="69069" rtlCol="0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224" y="0"/>
            <a:ext cx="4278154" cy="717573"/>
          </a:xfrm>
          <a:prstGeom prst="rect">
            <a:avLst/>
          </a:prstGeom>
        </p:spPr>
        <p:txBody>
          <a:bodyPr vert="horz" lIns="138138" tIns="69069" rIns="138138" bIns="69069" rtlCol="0"/>
          <a:lstStyle>
            <a:lvl1pPr algn="r">
              <a:defRPr sz="1800"/>
            </a:lvl1pPr>
          </a:lstStyle>
          <a:p>
            <a:fld id="{5E73E1B9-EFCF-4963-9746-84ABCA851581}" type="datetimeFigureOut">
              <a:rPr lang="de-DE" smtClean="0"/>
              <a:t>15.05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6113" y="1787525"/>
            <a:ext cx="8580437" cy="48275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138" tIns="69069" rIns="138138" bIns="69069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267" y="6882735"/>
            <a:ext cx="7898130" cy="5631329"/>
          </a:xfrm>
          <a:prstGeom prst="rect">
            <a:avLst/>
          </a:prstGeom>
        </p:spPr>
        <p:txBody>
          <a:bodyPr vert="horz" lIns="138138" tIns="69069" rIns="138138" bIns="6906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3584217"/>
            <a:ext cx="4278154" cy="717572"/>
          </a:xfrm>
          <a:prstGeom prst="rect">
            <a:avLst/>
          </a:prstGeom>
        </p:spPr>
        <p:txBody>
          <a:bodyPr vert="horz" lIns="138138" tIns="69069" rIns="138138" bIns="69069" rtlCol="0" anchor="b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224" y="13584217"/>
            <a:ext cx="4278154" cy="717572"/>
          </a:xfrm>
          <a:prstGeom prst="rect">
            <a:avLst/>
          </a:prstGeom>
        </p:spPr>
        <p:txBody>
          <a:bodyPr vert="horz" lIns="138138" tIns="69069" rIns="138138" bIns="69069" rtlCol="0" anchor="b"/>
          <a:lstStyle>
            <a:lvl1pPr algn="r">
              <a:defRPr sz="1800"/>
            </a:lvl1pPr>
          </a:lstStyle>
          <a:p>
            <a:fld id="{5CABCC65-0C31-42B9-B61F-598D949DE96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6024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3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6"/>
            <a:ext cx="11522075" cy="182605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4027871"/>
            <a:ext cx="11522075" cy="235387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5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5617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363687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93E54E4E-BAE1-47E3-89DB-BFFD715EA6DF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259795" y="1484313"/>
            <a:ext cx="367232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20157" y="1484313"/>
            <a:ext cx="3636881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813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4" y="1484313"/>
            <a:ext cx="5616574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AB863353-881F-4A37-8059-24D2F2FC89A3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75388" y="1484313"/>
            <a:ext cx="5581649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334964" y="4041068"/>
            <a:ext cx="561657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75388" y="4041068"/>
            <a:ext cx="5581649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81111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EBA0B9C-0263-43F8-A5BD-7C7A56D99F30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8189787"/>
      </p:ext>
    </p:extLst>
  </p:cSld>
  <p:clrMapOvr>
    <a:masterClrMapping/>
  </p:clrMapOvr>
  <p:hf sldNum="0"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7F82B58-65A9-43C8-A565-8904B243FF92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36622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5786" y="1484313"/>
            <a:ext cx="7681251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55575" y="152401"/>
            <a:ext cx="9685338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3648803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2AD12A20-91AA-45A3-B2E6-986C4E70512F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9224186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40463" y="1484784"/>
            <a:ext cx="5616575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55575" y="152401"/>
            <a:ext cx="9685339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FEE7433-4517-4D00-B892-C1DAE7B8DC28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40463" y="4004642"/>
            <a:ext cx="5616575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93656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334963" y="3429003"/>
            <a:ext cx="11522075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726257B3-1C04-4035-8323-9E2CC156B6A1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75388" y="1484313"/>
            <a:ext cx="5581650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1123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508001" y="5791200"/>
            <a:ext cx="11391900" cy="400050"/>
          </a:xfrm>
        </p:spPr>
        <p:txBody>
          <a:bodyPr/>
          <a:lstStyle>
            <a:lvl1pPr marL="0" indent="0">
              <a:buNone/>
              <a:defRPr>
                <a:solidFill>
                  <a:srgbClr val="0018A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90277610"/>
      </p:ext>
    </p:extLst>
  </p:cSld>
  <p:clrMapOvr>
    <a:masterClrMapping/>
  </p:clrMapOvr>
  <p:hf sldNum="0"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BCEDFA-15D0-4590-ABCC-047A2C3148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966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7BCEDFA-15D0-4590-ABCC-047A2C3148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63AD32-13A0-4B3A-B284-10BBC971146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ED3F3D-EF35-428C-8765-CE7372C60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91" b="15379"/>
          <a:stretch/>
        </p:blipFill>
        <p:spPr>
          <a:xfrm>
            <a:off x="0" y="0"/>
            <a:ext cx="12179137" cy="6858000"/>
          </a:xfrm>
          <a:prstGeom prst="rect">
            <a:avLst/>
          </a:prstGeom>
        </p:spPr>
      </p:pic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6"/>
            <a:ext cx="11522075" cy="182605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4027871"/>
            <a:ext cx="11522075" cy="235387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5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4148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(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4E5ECC-E8A9-41C5-9B43-E50F76B1F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32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4E5ECC-E8A9-41C5-9B43-E50F76B1F0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827B49-B9FB-40F4-8184-F7F87A4CFFC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368825 w 12192000"/>
              <a:gd name="connsiteY0" fmla="*/ 152635 h 6858000"/>
              <a:gd name="connsiteX1" fmla="*/ 9368825 w 12192000"/>
              <a:gd name="connsiteY1" fmla="*/ 1484635 h 6858000"/>
              <a:gd name="connsiteX2" fmla="*/ 12036425 w 12192000"/>
              <a:gd name="connsiteY2" fmla="*/ 1484635 h 6858000"/>
              <a:gd name="connsiteX3" fmla="*/ 12036425 w 12192000"/>
              <a:gd name="connsiteY3" fmla="*/ 152635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368825" y="152635"/>
                </a:moveTo>
                <a:lnTo>
                  <a:pt x="9368825" y="1484635"/>
                </a:lnTo>
                <a:lnTo>
                  <a:pt x="12036425" y="14846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7"/>
            <a:ext cx="11522075" cy="13648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3569344"/>
            <a:ext cx="11522075" cy="1407828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6C109420-D844-4619-85D5-03052FDFF96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1D32D73-4EF3-44D9-9A5B-58E864B04B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aim</a:t>
            </a:r>
          </a:p>
        </p:txBody>
      </p:sp>
    </p:spTree>
    <p:extLst>
      <p:ext uri="{BB962C8B-B14F-4D97-AF65-F5344CB8AC3E}">
        <p14:creationId xmlns:p14="http://schemas.microsoft.com/office/powerpoint/2010/main" val="37500555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368825 w 12192000"/>
              <a:gd name="connsiteY0" fmla="*/ 152635 h 6858000"/>
              <a:gd name="connsiteX1" fmla="*/ 9368825 w 12192000"/>
              <a:gd name="connsiteY1" fmla="*/ 1484635 h 6858000"/>
              <a:gd name="connsiteX2" fmla="*/ 12036425 w 12192000"/>
              <a:gd name="connsiteY2" fmla="*/ 1484635 h 6858000"/>
              <a:gd name="connsiteX3" fmla="*/ 12036425 w 12192000"/>
              <a:gd name="connsiteY3" fmla="*/ 152635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368825" y="152635"/>
                </a:moveTo>
                <a:lnTo>
                  <a:pt x="9368825" y="1484635"/>
                </a:lnTo>
                <a:lnTo>
                  <a:pt x="12036425" y="14846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7"/>
            <a:ext cx="11522075" cy="13648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3569344"/>
            <a:ext cx="11522075" cy="1407828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6C109420-D844-4619-85D5-03052FDFF9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1D32D73-4EF3-44D9-9A5B-58E864B04B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</p:spTree>
    <p:extLst>
      <p:ext uri="{BB962C8B-B14F-4D97-AF65-F5344CB8AC3E}">
        <p14:creationId xmlns:p14="http://schemas.microsoft.com/office/powerpoint/2010/main" val="33844503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0BC9B9-B83F-4BB8-81E8-37FB91136D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447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0BC9B9-B83F-4BB8-81E8-37FB91136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361050-6E39-4AE9-9846-42B4B9FF847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9368825 w 12192000"/>
              <a:gd name="connsiteY0" fmla="*/ 152635 h 3429000"/>
              <a:gd name="connsiteX1" fmla="*/ 9368825 w 12192000"/>
              <a:gd name="connsiteY1" fmla="*/ 1484635 h 3429000"/>
              <a:gd name="connsiteX2" fmla="*/ 12036425 w 12192000"/>
              <a:gd name="connsiteY2" fmla="*/ 1484635 h 3429000"/>
              <a:gd name="connsiteX3" fmla="*/ 12036425 w 12192000"/>
              <a:gd name="connsiteY3" fmla="*/ 152635 h 3429000"/>
              <a:gd name="connsiteX4" fmla="*/ 0 w 12192000"/>
              <a:gd name="connsiteY4" fmla="*/ 0 h 3429000"/>
              <a:gd name="connsiteX5" fmla="*/ 12192000 w 12192000"/>
              <a:gd name="connsiteY5" fmla="*/ 0 h 3429000"/>
              <a:gd name="connsiteX6" fmla="*/ 12192000 w 12192000"/>
              <a:gd name="connsiteY6" fmla="*/ 3429000 h 3429000"/>
              <a:gd name="connsiteX7" fmla="*/ 0 w 12192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9000">
                <a:moveTo>
                  <a:pt x="9368825" y="152635"/>
                </a:moveTo>
                <a:lnTo>
                  <a:pt x="9368825" y="1484635"/>
                </a:lnTo>
                <a:lnTo>
                  <a:pt x="12036425" y="14846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3667884"/>
            <a:ext cx="11522075" cy="1224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5228778"/>
            <a:ext cx="11522075" cy="86400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4CDE934B-AD46-4B76-9A63-ECC6C442055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525DEC37-8BD3-49EC-AB2D-EB5DCD13D009}"/>
              </a:ext>
            </a:extLst>
          </p:cNvPr>
          <p:cNvSpPr/>
          <p:nvPr userDrawn="1"/>
        </p:nvSpPr>
        <p:spPr>
          <a:xfrm>
            <a:off x="334963" y="6345324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GB" sz="1800">
                <a:solidFill>
                  <a:schemeClr val="tx2"/>
                </a:solidFill>
              </a:rPr>
              <a:t>Making our world more productive</a:t>
            </a:r>
          </a:p>
        </p:txBody>
      </p:sp>
    </p:spTree>
    <p:extLst>
      <p:ext uri="{BB962C8B-B14F-4D97-AF65-F5344CB8AC3E}">
        <p14:creationId xmlns:p14="http://schemas.microsoft.com/office/powerpoint/2010/main" val="40892908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AE24DB-061F-4BDA-AF7C-C62C92C832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769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AE24DB-061F-4BDA-AF7C-C62C92C83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893388-D071-4C0E-AFF9-D784C03D142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368825 w 12192000"/>
              <a:gd name="connsiteY0" fmla="*/ 5373600 h 6858000"/>
              <a:gd name="connsiteX1" fmla="*/ 9368825 w 12192000"/>
              <a:gd name="connsiteY1" fmla="*/ 6705600 h 6858000"/>
              <a:gd name="connsiteX2" fmla="*/ 12036425 w 12192000"/>
              <a:gd name="connsiteY2" fmla="*/ 6705600 h 6858000"/>
              <a:gd name="connsiteX3" fmla="*/ 12036425 w 12192000"/>
              <a:gd name="connsiteY3" fmla="*/ 5373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368825" y="5373600"/>
                </a:moveTo>
                <a:lnTo>
                  <a:pt x="9368825" y="6705600"/>
                </a:lnTo>
                <a:lnTo>
                  <a:pt x="12036425" y="6705600"/>
                </a:lnTo>
                <a:lnTo>
                  <a:pt x="12036425" y="5373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6"/>
            <a:ext cx="11522075" cy="136513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3569344"/>
            <a:ext cx="11522075" cy="140760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6" name="Grafik 7">
            <a:extLst>
              <a:ext uri="{FF2B5EF4-FFF2-40B4-BE49-F238E27FC236}">
                <a16:creationId xmlns:a16="http://schemas.microsoft.com/office/drawing/2014/main" id="{B0E88925-3D63-495C-A981-1CBC80D3D8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5373924"/>
            <a:ext cx="2667930" cy="1331676"/>
          </a:xfrm>
          <a:prstGeom prst="rect">
            <a:avLst/>
          </a:prstGeom>
        </p:spPr>
      </p:pic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F294D011-8DC7-4609-91A9-1589928C6D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aim</a:t>
            </a:r>
          </a:p>
        </p:txBody>
      </p:sp>
    </p:spTree>
    <p:extLst>
      <p:ext uri="{BB962C8B-B14F-4D97-AF65-F5344CB8AC3E}">
        <p14:creationId xmlns:p14="http://schemas.microsoft.com/office/powerpoint/2010/main" val="42123200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6FDBA9-168F-4CD6-93AB-B9D955207C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278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6FDBA9-168F-4CD6-93AB-B9D955207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7733534-CCAE-473F-9990-734A6C3880F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3667884"/>
            <a:ext cx="11522075" cy="1224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5228778"/>
            <a:ext cx="8713365" cy="86400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25DEC37-8BD3-49EC-AB2D-EB5DCD13D009}"/>
              </a:ext>
            </a:extLst>
          </p:cNvPr>
          <p:cNvSpPr/>
          <p:nvPr userDrawn="1"/>
        </p:nvSpPr>
        <p:spPr>
          <a:xfrm>
            <a:off x="334963" y="6345324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GB" sz="1800">
                <a:solidFill>
                  <a:schemeClr val="tx2"/>
                </a:solidFill>
              </a:rPr>
              <a:t>Making our world more productive</a:t>
            </a:r>
          </a:p>
        </p:txBody>
      </p:sp>
      <p:pic>
        <p:nvPicPr>
          <p:cNvPr id="9" name="Grafik 7">
            <a:extLst>
              <a:ext uri="{FF2B5EF4-FFF2-40B4-BE49-F238E27FC236}">
                <a16:creationId xmlns:a16="http://schemas.microsoft.com/office/drawing/2014/main" id="{FC327043-7AC8-4918-8870-62B26405CED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5373924"/>
            <a:ext cx="2667930" cy="1331676"/>
          </a:xfrm>
          <a:prstGeom prst="rect">
            <a:avLst/>
          </a:prstGeom>
        </p:spPr>
      </p:pic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95D77B83-001F-43DA-BD9B-14E43F18DA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78287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1190D2-FD56-4F43-9277-FA93C86CEC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427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1190D2-FD56-4F43-9277-FA93C86CEC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C6E442-AA99-4BA5-9777-E275357B72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9984425 w 12191999"/>
              <a:gd name="connsiteY0" fmla="*/ 152635 h 6858000"/>
              <a:gd name="connsiteX1" fmla="*/ 9984425 w 12191999"/>
              <a:gd name="connsiteY1" fmla="*/ 1175035 h 6858000"/>
              <a:gd name="connsiteX2" fmla="*/ 12036425 w 12191999"/>
              <a:gd name="connsiteY2" fmla="*/ 1175035 h 6858000"/>
              <a:gd name="connsiteX3" fmla="*/ 12036425 w 12191999"/>
              <a:gd name="connsiteY3" fmla="*/ 152635 h 6858000"/>
              <a:gd name="connsiteX4" fmla="*/ 0 w 12191999"/>
              <a:gd name="connsiteY4" fmla="*/ 0 h 6858000"/>
              <a:gd name="connsiteX5" fmla="*/ 12191999 w 12191999"/>
              <a:gd name="connsiteY5" fmla="*/ 0 h 6858000"/>
              <a:gd name="connsiteX6" fmla="*/ 12191999 w 12191999"/>
              <a:gd name="connsiteY6" fmla="*/ 6858000 h 6858000"/>
              <a:gd name="connsiteX7" fmla="*/ 0 w 1219199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58000">
                <a:moveTo>
                  <a:pt x="9984425" y="152635"/>
                </a:moveTo>
                <a:lnTo>
                  <a:pt x="9984425" y="1175035"/>
                </a:lnTo>
                <a:lnTo>
                  <a:pt x="12036425" y="11750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5575" y="152401"/>
            <a:ext cx="9685338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7113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5A3912-8AA6-482C-BFB4-C11AC91E54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068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5A3912-8AA6-482C-BFB4-C11AC91E54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2B569FE-8EFC-4BFA-80CB-05130ECD0BC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5575" y="152401"/>
            <a:ext cx="9685338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4AE2A9F-EA8A-492A-BB83-F82A8285CEF0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55575" y="1341439"/>
            <a:ext cx="1188085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361674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507EECF-E589-428A-8797-A9D0AE721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3506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507EECF-E589-428A-8797-A9D0AE721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2AA0D01-B002-4CF8-AC65-48E676D088B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062A50A3-73E5-41C9-95A6-175D41F69F5C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75388" y="1484313"/>
            <a:ext cx="558164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02580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6EF303F-BCEC-439B-9377-C5AAE02215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345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6EF303F-BCEC-439B-9377-C5AAE02215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B57DCB-904C-43C2-AEB4-9F7E8EE8A4D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363687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93E54E4E-BAE1-47E3-89DB-BFFD715EA6DF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259795" y="1484313"/>
            <a:ext cx="367232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20157" y="1484313"/>
            <a:ext cx="3636881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19740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6949DC-2592-45CD-9D10-C009F7255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323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6949DC-2592-45CD-9D10-C009F7255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08E247-1706-424E-8365-86FB6A7BF94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4" y="1484313"/>
            <a:ext cx="5616574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AB863353-881F-4A37-8059-24D2F2FC89A3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75388" y="1484313"/>
            <a:ext cx="5581649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334964" y="4041068"/>
            <a:ext cx="561657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75388" y="4041068"/>
            <a:ext cx="5581649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82020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E726F20-CDCC-45C2-AE19-A7D10F4A3B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423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E726F20-CDCC-45C2-AE19-A7D10F4A3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2CB95883-5916-42CA-9A7A-6C5115CBF4C3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486864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F6F0C-D1CB-4107-A16A-9BDD41606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842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DF6F0C-D1CB-4107-A16A-9BDD41606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7F82B58-65A9-43C8-A565-8904B243FF92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9039014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9368825 w 12192000"/>
              <a:gd name="connsiteY0" fmla="*/ 152635 h 3429000"/>
              <a:gd name="connsiteX1" fmla="*/ 9368825 w 12192000"/>
              <a:gd name="connsiteY1" fmla="*/ 1484635 h 3429000"/>
              <a:gd name="connsiteX2" fmla="*/ 12036425 w 12192000"/>
              <a:gd name="connsiteY2" fmla="*/ 1484635 h 3429000"/>
              <a:gd name="connsiteX3" fmla="*/ 12036425 w 12192000"/>
              <a:gd name="connsiteY3" fmla="*/ 152635 h 3429000"/>
              <a:gd name="connsiteX4" fmla="*/ 0 w 12192000"/>
              <a:gd name="connsiteY4" fmla="*/ 0 h 3429000"/>
              <a:gd name="connsiteX5" fmla="*/ 12192000 w 12192000"/>
              <a:gd name="connsiteY5" fmla="*/ 0 h 3429000"/>
              <a:gd name="connsiteX6" fmla="*/ 12192000 w 12192000"/>
              <a:gd name="connsiteY6" fmla="*/ 3429000 h 3429000"/>
              <a:gd name="connsiteX7" fmla="*/ 0 w 12192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9000">
                <a:moveTo>
                  <a:pt x="9368825" y="152635"/>
                </a:moveTo>
                <a:lnTo>
                  <a:pt x="9368825" y="1484635"/>
                </a:lnTo>
                <a:lnTo>
                  <a:pt x="12036425" y="14846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3667884"/>
            <a:ext cx="11522075" cy="1224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5228778"/>
            <a:ext cx="11522075" cy="86400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4CDE934B-AD46-4B76-9A63-ECC6C44205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525DEC37-8BD3-49EC-AB2D-EB5DCD13D009}"/>
              </a:ext>
            </a:extLst>
          </p:cNvPr>
          <p:cNvSpPr/>
          <p:nvPr/>
        </p:nvSpPr>
        <p:spPr>
          <a:xfrm>
            <a:off x="334963" y="6345324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7440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31AD17-C2AF-42FA-B227-5CB0515281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622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31AD17-C2AF-42FA-B227-5CB051528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40188A-3569-4789-AEAD-E4DA52CE161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5786" y="1484313"/>
            <a:ext cx="7681251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5575" y="152401"/>
            <a:ext cx="9685338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3648803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2AD12A20-91AA-45A3-B2E6-986C4E70512F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99864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CE3F38-6F72-4121-9831-536A581270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2373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CE3F38-6F72-4121-9831-536A58127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27C28B-C1F4-43B4-A1AD-907931161D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40463" y="1484784"/>
            <a:ext cx="5616575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5575" y="152401"/>
            <a:ext cx="9685339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FEE7433-4517-4D00-B892-C1DAE7B8DC28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40463" y="4004642"/>
            <a:ext cx="5616575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301431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19B9C4-1782-42D5-A6F8-016D7FF792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812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19B9C4-1782-42D5-A6F8-016D7FF79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F3C92B-9557-4A6D-A62C-78104C7813F2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334963" y="3429003"/>
            <a:ext cx="11522075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726257B3-1C04-4035-8323-9E2CC156B6A1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75388" y="1484313"/>
            <a:ext cx="5581650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88839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818506-66C1-4F51-AFD0-D7BAA1CCB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9055530"/>
              </p:ext>
            </p:extLst>
          </p:nvPr>
        </p:nvGraphicFramePr>
        <p:xfrm>
          <a:off x="2163" y="1620"/>
          <a:ext cx="216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818506-66C1-4F51-AFD0-D7BAA1CCB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0"/>
                        <a:ext cx="216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34DA0EB-DA29-4C7C-9EB8-F36D3B4E00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5979" cy="161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000" b="1" i="0" baseline="0">
              <a:solidFill>
                <a:schemeClr val="tx1"/>
              </a:solidFill>
              <a:latin typeface="LindeDaxPowerPoint" panose="020B0500000000020000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7255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BCEDFA-15D0-4590-ABCC-047A2C3148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460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7BCEDFA-15D0-4590-ABCC-047A2C3148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63AD32-13A0-4B3A-B284-10BBC971146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ED3F3D-EF35-428C-8765-CE7372C60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91" b="15379"/>
          <a:stretch/>
        </p:blipFill>
        <p:spPr>
          <a:xfrm>
            <a:off x="0" y="0"/>
            <a:ext cx="12179137" cy="6858000"/>
          </a:xfrm>
          <a:prstGeom prst="rect">
            <a:avLst/>
          </a:prstGeom>
        </p:spPr>
      </p:pic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6"/>
            <a:ext cx="11522075" cy="182605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4027871"/>
            <a:ext cx="11522075" cy="235387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5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9136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(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0B307F-A4E5-488B-930A-366910BADE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520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0B307F-A4E5-488B-930A-366910BAD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7D495B-896A-48F7-9055-826923A198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368825 w 12192000"/>
              <a:gd name="connsiteY0" fmla="*/ 152635 h 6858000"/>
              <a:gd name="connsiteX1" fmla="*/ 9368825 w 12192000"/>
              <a:gd name="connsiteY1" fmla="*/ 1484635 h 6858000"/>
              <a:gd name="connsiteX2" fmla="*/ 12036425 w 12192000"/>
              <a:gd name="connsiteY2" fmla="*/ 1484635 h 6858000"/>
              <a:gd name="connsiteX3" fmla="*/ 12036425 w 12192000"/>
              <a:gd name="connsiteY3" fmla="*/ 152635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368825" y="152635"/>
                </a:moveTo>
                <a:lnTo>
                  <a:pt x="9368825" y="1484635"/>
                </a:lnTo>
                <a:lnTo>
                  <a:pt x="12036425" y="14846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7"/>
            <a:ext cx="11522075" cy="13648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3569344"/>
            <a:ext cx="11522075" cy="1407828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6C109420-D844-4619-85D5-03052FDFF96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1D32D73-4EF3-44D9-9A5B-58E864B04B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aim</a:t>
            </a:r>
          </a:p>
        </p:txBody>
      </p:sp>
    </p:spTree>
    <p:extLst>
      <p:ext uri="{BB962C8B-B14F-4D97-AF65-F5344CB8AC3E}">
        <p14:creationId xmlns:p14="http://schemas.microsoft.com/office/powerpoint/2010/main" val="22317210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(half 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6B1D7C-299E-4FA2-AB22-33B8D691D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36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6B1D7C-299E-4FA2-AB22-33B8D691D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E1AC44-4AA6-4461-8B46-38FA21CC4D1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9368825 w 12192000"/>
              <a:gd name="connsiteY0" fmla="*/ 152635 h 3429000"/>
              <a:gd name="connsiteX1" fmla="*/ 9368825 w 12192000"/>
              <a:gd name="connsiteY1" fmla="*/ 1484635 h 3429000"/>
              <a:gd name="connsiteX2" fmla="*/ 12036425 w 12192000"/>
              <a:gd name="connsiteY2" fmla="*/ 1484635 h 3429000"/>
              <a:gd name="connsiteX3" fmla="*/ 12036425 w 12192000"/>
              <a:gd name="connsiteY3" fmla="*/ 152635 h 3429000"/>
              <a:gd name="connsiteX4" fmla="*/ 0 w 12192000"/>
              <a:gd name="connsiteY4" fmla="*/ 0 h 3429000"/>
              <a:gd name="connsiteX5" fmla="*/ 12192000 w 12192000"/>
              <a:gd name="connsiteY5" fmla="*/ 0 h 3429000"/>
              <a:gd name="connsiteX6" fmla="*/ 12192000 w 12192000"/>
              <a:gd name="connsiteY6" fmla="*/ 3429000 h 3429000"/>
              <a:gd name="connsiteX7" fmla="*/ 0 w 121920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29000">
                <a:moveTo>
                  <a:pt x="9368825" y="152635"/>
                </a:moveTo>
                <a:lnTo>
                  <a:pt x="9368825" y="1484635"/>
                </a:lnTo>
                <a:lnTo>
                  <a:pt x="12036425" y="14846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3667884"/>
            <a:ext cx="11522075" cy="1224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5228778"/>
            <a:ext cx="11522075" cy="86400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4CDE934B-AD46-4B76-9A63-ECC6C442055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525DEC37-8BD3-49EC-AB2D-EB5DCD13D009}"/>
              </a:ext>
            </a:extLst>
          </p:cNvPr>
          <p:cNvSpPr/>
          <p:nvPr userDrawn="1"/>
        </p:nvSpPr>
        <p:spPr>
          <a:xfrm>
            <a:off x="334963" y="6345324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GB" sz="1800">
                <a:solidFill>
                  <a:schemeClr val="tx2"/>
                </a:solidFill>
              </a:rPr>
              <a:t>Making our world more productive</a:t>
            </a:r>
          </a:p>
        </p:txBody>
      </p:sp>
    </p:spTree>
    <p:extLst>
      <p:ext uri="{BB962C8B-B14F-4D97-AF65-F5344CB8AC3E}">
        <p14:creationId xmlns:p14="http://schemas.microsoft.com/office/powerpoint/2010/main" val="25322610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AEB100-7DA4-4FDA-9B89-1BF51EB62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721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AEB100-7DA4-4FDA-9B89-1BF51EB62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EA21603-D4C9-4685-BA6B-CB3F95D04BC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368825 w 12192000"/>
              <a:gd name="connsiteY0" fmla="*/ 5373600 h 6858000"/>
              <a:gd name="connsiteX1" fmla="*/ 9368825 w 12192000"/>
              <a:gd name="connsiteY1" fmla="*/ 6705600 h 6858000"/>
              <a:gd name="connsiteX2" fmla="*/ 12036425 w 12192000"/>
              <a:gd name="connsiteY2" fmla="*/ 6705600 h 6858000"/>
              <a:gd name="connsiteX3" fmla="*/ 12036425 w 12192000"/>
              <a:gd name="connsiteY3" fmla="*/ 5373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368825" y="5373600"/>
                </a:moveTo>
                <a:lnTo>
                  <a:pt x="9368825" y="6705600"/>
                </a:lnTo>
                <a:lnTo>
                  <a:pt x="12036425" y="6705600"/>
                </a:lnTo>
                <a:lnTo>
                  <a:pt x="12036425" y="5373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6"/>
            <a:ext cx="11522075" cy="136513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3569344"/>
            <a:ext cx="11522075" cy="140760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6" name="Grafik 7">
            <a:extLst>
              <a:ext uri="{FF2B5EF4-FFF2-40B4-BE49-F238E27FC236}">
                <a16:creationId xmlns:a16="http://schemas.microsoft.com/office/drawing/2014/main" id="{B0E88925-3D63-495C-A981-1CBC80D3D8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5373924"/>
            <a:ext cx="2667930" cy="1331676"/>
          </a:xfrm>
          <a:prstGeom prst="rect">
            <a:avLst/>
          </a:prstGeom>
        </p:spPr>
      </p:pic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F294D011-8DC7-4609-91A9-1589928C6D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aim</a:t>
            </a:r>
          </a:p>
        </p:txBody>
      </p:sp>
    </p:spTree>
    <p:extLst>
      <p:ext uri="{BB962C8B-B14F-4D97-AF65-F5344CB8AC3E}">
        <p14:creationId xmlns:p14="http://schemas.microsoft.com/office/powerpoint/2010/main" val="34717067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DEEC6D-CB29-4A04-A310-C5B83CCDA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169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DEEC6D-CB29-4A04-A310-C5B83CCDA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869F05-247C-44EF-97F2-57F7E4CF010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3667884"/>
            <a:ext cx="11522075" cy="1224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5228778"/>
            <a:ext cx="8713365" cy="86400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25DEC37-8BD3-49EC-AB2D-EB5DCD13D009}"/>
              </a:ext>
            </a:extLst>
          </p:cNvPr>
          <p:cNvSpPr/>
          <p:nvPr userDrawn="1"/>
        </p:nvSpPr>
        <p:spPr>
          <a:xfrm>
            <a:off x="334963" y="6345324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GB" sz="1800">
                <a:solidFill>
                  <a:schemeClr val="tx2"/>
                </a:solidFill>
              </a:rPr>
              <a:t>Making our world more productive</a:t>
            </a:r>
          </a:p>
        </p:txBody>
      </p:sp>
      <p:pic>
        <p:nvPicPr>
          <p:cNvPr id="9" name="Grafik 7">
            <a:extLst>
              <a:ext uri="{FF2B5EF4-FFF2-40B4-BE49-F238E27FC236}">
                <a16:creationId xmlns:a16="http://schemas.microsoft.com/office/drawing/2014/main" id="{FC327043-7AC8-4918-8870-62B26405CED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5373924"/>
            <a:ext cx="2667930" cy="1331676"/>
          </a:xfrm>
          <a:prstGeom prst="rect">
            <a:avLst/>
          </a:prstGeom>
        </p:spPr>
      </p:pic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95D77B83-001F-43DA-BD9B-14E43F18DA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98903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D52B3D9-1C29-407E-9C21-DEC7C28201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127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D52B3D9-1C29-407E-9C21-DEC7C28201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743E1-D8CB-4A35-A8CC-161A479CC03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9984425 w 12191999"/>
              <a:gd name="connsiteY0" fmla="*/ 152635 h 6858000"/>
              <a:gd name="connsiteX1" fmla="*/ 9984425 w 12191999"/>
              <a:gd name="connsiteY1" fmla="*/ 1175035 h 6858000"/>
              <a:gd name="connsiteX2" fmla="*/ 12036425 w 12191999"/>
              <a:gd name="connsiteY2" fmla="*/ 1175035 h 6858000"/>
              <a:gd name="connsiteX3" fmla="*/ 12036425 w 12191999"/>
              <a:gd name="connsiteY3" fmla="*/ 152635 h 6858000"/>
              <a:gd name="connsiteX4" fmla="*/ 0 w 12191999"/>
              <a:gd name="connsiteY4" fmla="*/ 0 h 6858000"/>
              <a:gd name="connsiteX5" fmla="*/ 12191999 w 12191999"/>
              <a:gd name="connsiteY5" fmla="*/ 0 h 6858000"/>
              <a:gd name="connsiteX6" fmla="*/ 12191999 w 12191999"/>
              <a:gd name="connsiteY6" fmla="*/ 6858000 h 6858000"/>
              <a:gd name="connsiteX7" fmla="*/ 0 w 1219199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58000">
                <a:moveTo>
                  <a:pt x="9984425" y="152635"/>
                </a:moveTo>
                <a:lnTo>
                  <a:pt x="9984425" y="1175035"/>
                </a:lnTo>
                <a:lnTo>
                  <a:pt x="12036425" y="11750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5575" y="152401"/>
            <a:ext cx="9685338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85009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Pic, Logo at bottom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368825 w 12192000"/>
              <a:gd name="connsiteY0" fmla="*/ 5373600 h 6858000"/>
              <a:gd name="connsiteX1" fmla="*/ 9368825 w 12192000"/>
              <a:gd name="connsiteY1" fmla="*/ 6705600 h 6858000"/>
              <a:gd name="connsiteX2" fmla="*/ 12036425 w 12192000"/>
              <a:gd name="connsiteY2" fmla="*/ 6705600 h 6858000"/>
              <a:gd name="connsiteX3" fmla="*/ 12036425 w 12192000"/>
              <a:gd name="connsiteY3" fmla="*/ 5373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368825" y="5373600"/>
                </a:moveTo>
                <a:lnTo>
                  <a:pt x="9368825" y="6705600"/>
                </a:lnTo>
                <a:lnTo>
                  <a:pt x="12036425" y="6705600"/>
                </a:lnTo>
                <a:lnTo>
                  <a:pt x="12036425" y="5373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6"/>
            <a:ext cx="11522075" cy="136513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3569344"/>
            <a:ext cx="11522075" cy="140760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6" name="Grafik 7">
            <a:extLst>
              <a:ext uri="{FF2B5EF4-FFF2-40B4-BE49-F238E27FC236}">
                <a16:creationId xmlns:a16="http://schemas.microsoft.com/office/drawing/2014/main" id="{B0E88925-3D63-495C-A981-1CBC80D3D8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5373924"/>
            <a:ext cx="2667930" cy="1331676"/>
          </a:xfrm>
          <a:prstGeom prst="rect">
            <a:avLst/>
          </a:prstGeom>
        </p:spPr>
      </p:pic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F294D011-8DC7-4609-91A9-1589928C6D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</p:spTree>
    <p:extLst>
      <p:ext uri="{BB962C8B-B14F-4D97-AF65-F5344CB8AC3E}">
        <p14:creationId xmlns:p14="http://schemas.microsoft.com/office/powerpoint/2010/main" val="27261180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C752A1-62FE-47AB-8A4B-ACB463232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882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C752A1-62FE-47AB-8A4B-ACB463232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332037-F64E-4861-9AD2-6BB76E49832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5575" y="152401"/>
            <a:ext cx="9685338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4AE2A9F-EA8A-492A-BB83-F82A8285CEF0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55575" y="1341439"/>
            <a:ext cx="1188085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323856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4867D4A-9BC8-42CB-BEB4-2AA4CA9B7F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176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4867D4A-9BC8-42CB-BEB4-2AA4CA9B7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F3628A-A04B-4AF5-8C5F-29D538E579B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062A50A3-73E5-41C9-95A6-175D41F69F5C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75388" y="1484313"/>
            <a:ext cx="558164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4828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5017244-8480-4FC0-B47A-F69E27AE40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929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5017244-8480-4FC0-B47A-F69E27AE4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D7B753-07C4-44B9-ACD0-564529266EE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363687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93E54E4E-BAE1-47E3-89DB-BFFD715EA6DF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4259795" y="1484313"/>
            <a:ext cx="367232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8220157" y="1476000"/>
            <a:ext cx="3636881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07429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596E59-EAA9-4347-99DD-70B791FC00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481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D596E59-EAA9-4347-99DD-70B791FC0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233614-DC20-419B-88FF-7BD7BC75D15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4" y="1484313"/>
            <a:ext cx="5616574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AB863353-881F-4A37-8059-24D2F2FC89A3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75388" y="1484313"/>
            <a:ext cx="5581649" cy="235655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334964" y="4041068"/>
            <a:ext cx="5616574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6275388" y="4041068"/>
            <a:ext cx="5581649" cy="2340682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41352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E726F20-CDCC-45C2-AE19-A7D10F4A3B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886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E726F20-CDCC-45C2-AE19-A7D10F4A3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2CB95883-5916-42CA-9A7A-6C5115CBF4C3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415147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A2420E1-4705-4852-BF23-7775BFDAEA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325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A2420E1-4705-4852-BF23-7775BFDAE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17F82B58-65A9-43C8-A565-8904B243FF92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3652245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 Typ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B3FC85-4037-418D-B8E9-02626F9E0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442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B3FC85-4037-418D-B8E9-02626F9E0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C666B0D-763D-4AFA-8794-C4FFBE1FAB1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75786" y="1484313"/>
            <a:ext cx="7681251" cy="489743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5575" y="152401"/>
            <a:ext cx="9685338" cy="10224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3648803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61950" indent="-17145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2AD12A20-91AA-45A3-B2E6-986C4E70512F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816447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 Typ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583D3F-E80B-409D-8815-111C25555C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0012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583D3F-E80B-409D-8815-111C25555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4409D4-929E-411A-BCF7-F8A1F21AB38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40463" y="1484784"/>
            <a:ext cx="5616575" cy="2376124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5575" y="152401"/>
            <a:ext cx="9685339" cy="1023937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4897437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EFEE7433-4517-4D00-B892-C1DAE7B8DC28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40463" y="4004642"/>
            <a:ext cx="5616575" cy="237710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699385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 Typ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08B469-6109-4D8F-A38E-5329DBD255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112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08B469-6109-4D8F-A38E-5329DBD255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94050B-A8C0-4398-912E-733C1EE11E9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334963" y="3429003"/>
            <a:ext cx="11522075" cy="2952748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715963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726257B3-1C04-4035-8323-9E2CC156B6A1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75388" y="1484313"/>
            <a:ext cx="5581650" cy="1728663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84150" indent="-184150">
              <a:tabLst/>
              <a:defRPr sz="1400"/>
            </a:lvl2pPr>
            <a:lvl3pPr marL="358775" indent="-177800">
              <a:tabLst/>
              <a:defRPr sz="1400"/>
            </a:lvl3pPr>
            <a:lvl4pPr marL="534988" indent="-177800">
              <a:tabLst/>
              <a:defRPr sz="1400"/>
            </a:lvl4pPr>
            <a:lvl5pPr marL="714375" indent="-177800" defTabSz="806450">
              <a:tabLst/>
              <a:defRPr sz="1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02337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1077120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half Pic, Logo at 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3667884"/>
            <a:ext cx="11522075" cy="1224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t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5228778"/>
            <a:ext cx="8713365" cy="864000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25DEC37-8BD3-49EC-AB2D-EB5DCD13D009}"/>
              </a:ext>
            </a:extLst>
          </p:cNvPr>
          <p:cNvSpPr/>
          <p:nvPr/>
        </p:nvSpPr>
        <p:spPr>
          <a:xfrm>
            <a:off x="334963" y="6345324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  <p:pic>
        <p:nvPicPr>
          <p:cNvPr id="9" name="Grafik 7">
            <a:extLst>
              <a:ext uri="{FF2B5EF4-FFF2-40B4-BE49-F238E27FC236}">
                <a16:creationId xmlns:a16="http://schemas.microsoft.com/office/drawing/2014/main" id="{FC327043-7AC8-4918-8870-62B26405CE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5373924"/>
            <a:ext cx="2667930" cy="1331676"/>
          </a:xfrm>
          <a:prstGeom prst="rect">
            <a:avLst/>
          </a:prstGeom>
        </p:spPr>
      </p:pic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95D77B83-001F-43DA-BD9B-14E43F18DA4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ctr">
              <a:buNone/>
              <a:defRPr lang="de-DE"/>
            </a:lvl1pPr>
          </a:lstStyle>
          <a:p>
            <a:pPr marL="177800" lvl="0" indent="-177800" algn="ctr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707673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6"/>
            <a:ext cx="11522075" cy="182605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4027871"/>
            <a:ext cx="11522075" cy="2353879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5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1B758EAF-8B76-4ADD-B15D-B09E98045880}"/>
              </a:ext>
            </a:extLst>
          </p:cNvPr>
          <p:cNvSpPr/>
          <p:nvPr userDrawn="1"/>
        </p:nvSpPr>
        <p:spPr>
          <a:xfrm>
            <a:off x="334963" y="237589"/>
            <a:ext cx="3636801" cy="360276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1800">
                <a:solidFill>
                  <a:schemeClr val="tx2"/>
                </a:solidFill>
              </a:rPr>
              <a:t>Making our world more productive</a:t>
            </a:r>
            <a:endParaRPr lang="de-DE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3361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1324" y="974725"/>
            <a:ext cx="10947401" cy="2708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16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1324" y="1795461"/>
            <a:ext cx="304800" cy="438582"/>
          </a:xfrm>
          <a:prstGeom prst="rect">
            <a:avLst/>
          </a:prstGeom>
        </p:spPr>
        <p:txBody>
          <a:bodyPr anchor="b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62894" y="1991598"/>
            <a:ext cx="10505831" cy="22006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1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07428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 (Pic, Logo at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368825 w 12192000"/>
              <a:gd name="connsiteY0" fmla="*/ 152635 h 6858000"/>
              <a:gd name="connsiteX1" fmla="*/ 9368825 w 12192000"/>
              <a:gd name="connsiteY1" fmla="*/ 1484635 h 6858000"/>
              <a:gd name="connsiteX2" fmla="*/ 12036425 w 12192000"/>
              <a:gd name="connsiteY2" fmla="*/ 1484635 h 6858000"/>
              <a:gd name="connsiteX3" fmla="*/ 12036425 w 12192000"/>
              <a:gd name="connsiteY3" fmla="*/ 152635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368825" y="152635"/>
                </a:moveTo>
                <a:lnTo>
                  <a:pt x="9368825" y="1484635"/>
                </a:lnTo>
                <a:lnTo>
                  <a:pt x="12036425" y="14846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5459" name="Rectangle 9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4963" y="1657997"/>
            <a:ext cx="11522075" cy="13648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anchor="b" anchorCtr="0"/>
          <a:lstStyle>
            <a:lvl1pPr>
              <a:lnSpc>
                <a:spcPct val="11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5460" name="Rectangle 10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4963" y="3569344"/>
            <a:ext cx="11522075" cy="1407828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>
            <a:lvl1pPr marL="0" indent="0">
              <a:lnSpc>
                <a:spcPct val="110000"/>
              </a:lnSpc>
              <a:spcAft>
                <a:spcPct val="0"/>
              </a:spcAft>
              <a:buNone/>
              <a:tabLst/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6C109420-D844-4619-85D5-03052FDFF9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495" y="152635"/>
            <a:ext cx="2667930" cy="1331676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1D32D73-4EF3-44D9-9A5B-58E864B04B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37589"/>
            <a:ext cx="3600000" cy="360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aim</a:t>
            </a:r>
          </a:p>
        </p:txBody>
      </p:sp>
    </p:spTree>
    <p:extLst>
      <p:ext uri="{BB962C8B-B14F-4D97-AF65-F5344CB8AC3E}">
        <p14:creationId xmlns:p14="http://schemas.microsoft.com/office/powerpoint/2010/main" val="16540553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9984425 w 12191999"/>
              <a:gd name="connsiteY0" fmla="*/ 152635 h 6858000"/>
              <a:gd name="connsiteX1" fmla="*/ 9984425 w 12191999"/>
              <a:gd name="connsiteY1" fmla="*/ 1175035 h 6858000"/>
              <a:gd name="connsiteX2" fmla="*/ 12036425 w 12191999"/>
              <a:gd name="connsiteY2" fmla="*/ 1175035 h 6858000"/>
              <a:gd name="connsiteX3" fmla="*/ 12036425 w 12191999"/>
              <a:gd name="connsiteY3" fmla="*/ 152635 h 6858000"/>
              <a:gd name="connsiteX4" fmla="*/ 0 w 12191999"/>
              <a:gd name="connsiteY4" fmla="*/ 0 h 6858000"/>
              <a:gd name="connsiteX5" fmla="*/ 12191999 w 12191999"/>
              <a:gd name="connsiteY5" fmla="*/ 0 h 6858000"/>
              <a:gd name="connsiteX6" fmla="*/ 12191999 w 12191999"/>
              <a:gd name="connsiteY6" fmla="*/ 6858000 h 6858000"/>
              <a:gd name="connsiteX7" fmla="*/ 0 w 1219199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58000">
                <a:moveTo>
                  <a:pt x="9984425" y="152635"/>
                </a:moveTo>
                <a:lnTo>
                  <a:pt x="9984425" y="1175035"/>
                </a:lnTo>
                <a:lnTo>
                  <a:pt x="12036425" y="1175035"/>
                </a:lnTo>
                <a:lnTo>
                  <a:pt x="12036425" y="152635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55575" y="152401"/>
            <a:ext cx="9685338" cy="1008000"/>
          </a:xfrm>
          <a:solidFill>
            <a:schemeClr val="bg1"/>
          </a:solidFill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1842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smal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55575" y="152401"/>
            <a:ext cx="9685338" cy="100806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54AE2A9F-EA8A-492A-BB83-F82A8285CEF0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55575" y="1341439"/>
            <a:ext cx="11880850" cy="5040312"/>
          </a:xfr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marL="0" lvl="0" indent="0" algn="ctr">
              <a:buNone/>
            </a:pPr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939134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11522075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A6EC00DA-71ED-4EDA-A9BB-809E1232899F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83686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4963" y="1484313"/>
            <a:ext cx="5616575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062A50A3-73E5-41C9-95A6-175D41F69F5C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 hasCustomPrompt="1"/>
          </p:nvPr>
        </p:nvSpPr>
        <p:spPr>
          <a:xfrm>
            <a:off x="6275388" y="1484313"/>
            <a:ext cx="5581649" cy="489743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90412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8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34C554C-50BB-44C6-AEB2-EB867DD76670}"/>
              </a:ext>
            </a:extLst>
          </p:cNvPr>
          <p:cNvGraphicFramePr>
            <a:graphicFrameLocks noChangeAspect="1"/>
          </p:cNvGraphicFramePr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345968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338" imgH="338" progId="TCLayout.ActiveDocument.1">
                  <p:embed/>
                </p:oleObj>
              </mc:Choice>
              <mc:Fallback>
                <p:oleObj name="think-cell Slide" r:id="rId56" imgW="338" imgH="33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34C554C-50BB-44C6-AEB2-EB867DD7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DE75FF3-9306-46F2-8CA3-AF47BCBCC4B9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  <a:ea typeface="+mj-ea"/>
              <a:cs typeface="+mj-cs"/>
              <a:sym typeface="LindeDaxPowerPoint" panose="020B0500000000020000" pitchFamily="34" charset="0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155576" y="152400"/>
            <a:ext cx="9685338" cy="1023938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34963" y="1484313"/>
            <a:ext cx="11522075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55575" y="152401"/>
            <a:ext cx="9685339" cy="10239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72800" tIns="0" rIns="1728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err="1"/>
              <a:t>Titelmasterformat</a:t>
            </a:r>
            <a:r>
              <a:rPr lang="en-GB" noProof="0"/>
              <a:t>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bearbeiten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116000" y="6453336"/>
            <a:ext cx="10308592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334963" y="6453336"/>
            <a:ext cx="720477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sz="800" smtClean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fld id="{DEBA0B9C-0263-43F8-A5BD-7C7A56D99F30}" type="datetime1">
              <a:rPr lang="en-US" noProof="0" smtClean="0"/>
              <a:t>15/5/2024</a:t>
            </a:fld>
            <a:endParaRPr lang="en-GB" noProof="0"/>
          </a:p>
        </p:txBody>
      </p:sp>
      <p:sp>
        <p:nvSpPr>
          <p:cNvPr id="6" name="Rectangle 5"/>
          <p:cNvSpPr/>
          <p:nvPr/>
        </p:nvSpPr>
        <p:spPr bwMode="auto">
          <a:xfrm>
            <a:off x="11424592" y="6453336"/>
            <a:ext cx="432446" cy="25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r">
              <a:lnSpc>
                <a:spcPct val="100000"/>
              </a:lnSpc>
            </a:pPr>
            <a:fld id="{6DAC255C-81C4-45BF-A0B7-822A0D4D0A7D}" type="slidenum">
              <a:rPr lang="en-GB" sz="800" noProof="0" smtClean="0">
                <a:solidFill>
                  <a:schemeClr val="tx1"/>
                </a:solidFill>
              </a:rPr>
              <a:pPr lvl="0" algn="r">
                <a:lnSpc>
                  <a:spcPct val="100000"/>
                </a:lnSpc>
              </a:pPr>
              <a:t>‹#›</a:t>
            </a:fld>
            <a:endParaRPr lang="en-GB" sz="800" noProof="0">
              <a:solidFill>
                <a:schemeClr val="tx1"/>
              </a:solidFill>
            </a:endParaRPr>
          </a:p>
        </p:txBody>
      </p:sp>
      <p:pic>
        <p:nvPicPr>
          <p:cNvPr id="12" name="Grafik 7">
            <a:extLst>
              <a:ext uri="{FF2B5EF4-FFF2-40B4-BE49-F238E27FC236}">
                <a16:creationId xmlns:a16="http://schemas.microsoft.com/office/drawing/2014/main" id="{13134EF2-72A1-466B-AE80-25EB4E8F19E4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110" y="152400"/>
            <a:ext cx="2048315" cy="102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48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</p:sldLayoutIdLst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marL="17780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177800" algn="l"/>
        </a:tabLst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361950" algn="l"/>
        </a:tabLst>
        <a:defRPr sz="1600">
          <a:solidFill>
            <a:schemeClr val="tx1"/>
          </a:solidFill>
          <a:latin typeface="+mn-lt"/>
        </a:defRPr>
      </a:lvl2pPr>
      <a:lvl3pPr marL="5397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539750" algn="l"/>
        </a:tabLst>
        <a:defRPr sz="1600"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717550" algn="l"/>
        </a:tabLst>
        <a:defRPr sz="1600">
          <a:solidFill>
            <a:schemeClr val="tx1"/>
          </a:solidFill>
          <a:latin typeface="+mn-lt"/>
        </a:defRPr>
      </a:lvl4pPr>
      <a:lvl5pPr marL="895350" indent="-177800" algn="l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Font typeface="LindeDaxPowerPoint" pitchFamily="34" charset="0"/>
        <a:buChar char="–"/>
        <a:tabLst>
          <a:tab pos="895350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6">
          <p15:clr>
            <a:srgbClr val="F26B43"/>
          </p15:clr>
        </p15:guide>
        <p15:guide id="2" pos="98">
          <p15:clr>
            <a:srgbClr val="F26B43"/>
          </p15:clr>
        </p15:guide>
        <p15:guide id="3" pos="7582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pos="6289">
          <p15:clr>
            <a:srgbClr val="F26B43"/>
          </p15:clr>
        </p15:guide>
        <p15:guide id="6" pos="6199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pos="211">
          <p15:clr>
            <a:srgbClr val="F26B43"/>
          </p15:clr>
        </p15:guide>
        <p15:guide id="10" pos="7469">
          <p15:clr>
            <a:srgbClr val="F26B43"/>
          </p15:clr>
        </p15:guide>
        <p15:guide id="11" orient="horz" pos="4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34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6EB550B-0DD4-29B3-8BA4-B0AFB11097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908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6EB550B-0DD4-29B3-8BA4-B0AFB11097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9E8306-B951-58C4-B29B-E8D54E352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xt Best Action</a:t>
            </a:r>
            <a:br>
              <a:rPr lang="en-US" dirty="0"/>
            </a:br>
            <a:r>
              <a:rPr lang="en-US" sz="1800" b="0" dirty="0"/>
              <a:t>Notes</a:t>
            </a:r>
            <a:endParaRPr lang="en-US" b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3672F2-E789-123A-1EAF-D8CD687D2C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EBA0B9C-0263-43F8-A5BD-7C7A56D99F30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2A93D8-39C1-C665-938C-F7BCF5BF39F7}"/>
              </a:ext>
            </a:extLst>
          </p:cNvPr>
          <p:cNvSpPr txBox="1"/>
          <p:nvPr/>
        </p:nvSpPr>
        <p:spPr>
          <a:xfrm>
            <a:off x="334963" y="3363991"/>
            <a:ext cx="609600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1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AC Action (Bryce)</a:t>
            </a: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rm database and data profiling</a:t>
            </a:r>
          </a:p>
          <a:p>
            <a:pPr marL="685800" lvl="1" indent="-228600">
              <a:buFont typeface="Wingdings" panose="05000000000000000000" pitchFamily="2" charset="2"/>
              <a:buChar char=""/>
            </a:pP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ign the model to present to most important action for the customer example price, DIFOT etc .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er purchase offers and value add using customer profiling association product model – alternative product off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359496C-05CB-9657-8634-7906C51F11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61960" y="1772219"/>
            <a:ext cx="3767335" cy="227299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1317E6E-E4E1-BA64-AC1D-C18030F9F5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79665" y="4286872"/>
            <a:ext cx="2331923" cy="204614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2AAE1A7-C136-D5BD-A221-4F498B2850A6}"/>
              </a:ext>
            </a:extLst>
          </p:cNvPr>
          <p:cNvSpPr txBox="1"/>
          <p:nvPr/>
        </p:nvSpPr>
        <p:spPr>
          <a:xfrm>
            <a:off x="334963" y="1425943"/>
            <a:ext cx="6096000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1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SP Action (Jamie)</a:t>
            </a: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ine total RSP Ship to.  </a:t>
            </a:r>
          </a:p>
          <a:p>
            <a:pPr marL="800100" lvl="1" indent="-342900">
              <a:buFont typeface="Symbol" panose="05050102010706020507" pitchFamily="18" charset="2"/>
              <a:buChar char=""/>
            </a:pPr>
            <a:r>
              <a:rPr lang="en-AU" sz="11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86,363 Total Cylinder Ship </a:t>
            </a:r>
            <a:r>
              <a:rPr lang="en-AU" sz="1100" kern="1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’s</a:t>
            </a:r>
            <a:endParaRPr lang="en-AU" sz="1100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anose="05050102010706020507" pitchFamily="18" charset="2"/>
              <a:buChar char=""/>
            </a:pP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4,595 Managed Accounts</a:t>
            </a:r>
          </a:p>
          <a:p>
            <a:pPr marL="800100" lvl="1" indent="-342900">
              <a:buFont typeface="Symbol" panose="05050102010706020507" pitchFamily="18" charset="2"/>
              <a:buChar char=""/>
            </a:pPr>
            <a:r>
              <a:rPr lang="en-AU" sz="11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31,380 Unmanaged Accounts</a:t>
            </a:r>
          </a:p>
          <a:p>
            <a:pPr marL="1257300" lvl="2" indent="-342900">
              <a:buFont typeface="Symbol" panose="05050102010706020507" pitchFamily="18" charset="2"/>
              <a:buChar char=""/>
            </a:pP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,207 wi</a:t>
            </a:r>
            <a:r>
              <a:rPr lang="en-AU" sz="11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 ABN’s loaded with a further 67,495 unclassified</a:t>
            </a:r>
          </a:p>
          <a:p>
            <a:pPr marL="1257300" lvl="2" indent="-342900">
              <a:buFont typeface="Symbol" panose="05050102010706020507" pitchFamily="18" charset="2"/>
              <a:buChar char=""/>
            </a:pP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6,065 – Consumers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ate customer persona to reflect a call to action for the salesperson – Utilising pricing at the relevant data points </a:t>
            </a:r>
          </a:p>
          <a:p>
            <a:pPr marL="685800" lvl="1" indent="-228600">
              <a:buFont typeface="Wingdings" panose="05000000000000000000" pitchFamily="2" charset="2"/>
              <a:buChar char=""/>
            </a:pPr>
            <a:r>
              <a:rPr lang="en-AU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ign with what we are trying to measu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A61F5EE-0A2C-5C31-0C61-91BBB9035B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5294" y="4624932"/>
            <a:ext cx="2701412" cy="195453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62189FF-2071-3CF6-17A4-560DFCB07B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23809" y="4438041"/>
            <a:ext cx="1803334" cy="2328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4386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0BF0B-B60E-1E4A-C6BA-6F23DF8CF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admap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5628C5-A7B4-D13D-0F9B-BF40FF6F8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EBA0B9C-0263-43F8-A5BD-7C7A56D99F30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F4E1EF-F4A7-F2E8-5921-9952D57A1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08823" y="3037971"/>
            <a:ext cx="10308592" cy="2522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D32C4A-C79C-F282-4566-4D80B25ED4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839" y="1467253"/>
            <a:ext cx="6900771" cy="4163526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8EA73B87-1DB2-43D2-BBA2-F417307912C5}"/>
              </a:ext>
            </a:extLst>
          </p:cNvPr>
          <p:cNvSpPr/>
          <p:nvPr/>
        </p:nvSpPr>
        <p:spPr bwMode="auto">
          <a:xfrm>
            <a:off x="8209082" y="2575015"/>
            <a:ext cx="3071446" cy="294639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LindeDaxPowerPoint" pitchFamily="34" charset="0"/>
              </a:rPr>
              <a:t>Missed purchased</a:t>
            </a:r>
          </a:p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r>
              <a:rPr lang="en-US" sz="1600" dirty="0">
                <a:latin typeface="LindeDaxPowerPoint" pitchFamily="34" charset="0"/>
              </a:rPr>
              <a:t>CCH decline</a:t>
            </a:r>
          </a:p>
          <a:p>
            <a:pPr marL="639763" lvl="1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</a:pPr>
            <a:r>
              <a:rPr lang="en-US" sz="1600" dirty="0">
                <a:latin typeface="LindeDaxPowerPoint" pitchFamily="34" charset="0"/>
              </a:rPr>
              <a:t>Contact customer</a:t>
            </a:r>
          </a:p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LindeDaxPowerPoint" pitchFamily="34" charset="0"/>
              </a:rPr>
              <a:t>Pricing?</a:t>
            </a:r>
          </a:p>
          <a:p>
            <a:pPr marL="639763" lvl="1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</a:pPr>
            <a:r>
              <a:rPr lang="en-US" sz="1600" dirty="0">
                <a:latin typeface="LindeDaxPowerPoint" pitchFamily="34" charset="0"/>
              </a:rPr>
              <a:t>Price increase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r>
              <a:rPr lang="en-US" sz="1600" dirty="0">
                <a:latin typeface="LindeDaxPowerPoint" pitchFamily="34" charset="0"/>
              </a:rPr>
              <a:t>Profiling/Segmentation</a:t>
            </a:r>
          </a:p>
          <a:p>
            <a:pPr marL="639763" lvl="1" indent="-18256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LindeDaxPowerPoint" panose="020B0500000000020000" pitchFamily="34" charset="0"/>
              <a:buChar char="–"/>
            </a:pPr>
            <a:r>
              <a:rPr lang="en-US" sz="1600" dirty="0">
                <a:latin typeface="LindeDaxPowerPoint" pitchFamily="34" charset="0"/>
              </a:rPr>
              <a:t>Marketing</a:t>
            </a:r>
          </a:p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LindeDaxPowerPoint" pitchFamily="34" charset="0"/>
              </a:rPr>
              <a:t>Bundling</a:t>
            </a:r>
          </a:p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LindeDaxPowerPoint" pitchFamily="34" charset="0"/>
              </a:rPr>
              <a:t>DIFOT</a:t>
            </a: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E945D4E-561F-6556-40BE-2374D41EE1FD}"/>
              </a:ext>
            </a:extLst>
          </p:cNvPr>
          <p:cNvSpPr/>
          <p:nvPr/>
        </p:nvSpPr>
        <p:spPr bwMode="auto">
          <a:xfrm>
            <a:off x="7047932" y="3421487"/>
            <a:ext cx="3551935" cy="1694372"/>
          </a:xfrm>
          <a:prstGeom prst="ellipse">
            <a:avLst/>
          </a:prstGeom>
          <a:noFill/>
          <a:ln w="6350" cap="flat" cmpd="sng" algn="ctr">
            <a:solidFill>
              <a:srgbClr val="E1000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82800" rIns="90000" bIns="82800" numCol="1" rtlCol="0" anchor="t" anchorCtr="0" compatLnSpc="1">
            <a:prstTxWarp prst="textNoShape">
              <a:avLst/>
            </a:prstTxWarp>
          </a:bodyPr>
          <a:lstStyle/>
          <a:p>
            <a:pPr marL="182563" marR="0" indent="-182563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LindeDaxPowerPoint" panose="020B0500000000020000" pitchFamily="34" charset="0"/>
              <a:buChar char="–"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LindeDaxPowerPoin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76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E0C466-3932-327F-C119-552C029B9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ustomer Churn Prediction (Data </a:t>
            </a:r>
            <a:r>
              <a:rPr lang="en-US" sz="2000" dirty="0" err="1"/>
              <a:t>reqirement</a:t>
            </a:r>
            <a:r>
              <a:rPr lang="en-US" sz="2000" dirty="0"/>
              <a:t>)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A11E3B-02BE-D412-DDE9-D6B9C2914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fld id="{DEBA0B9C-0263-43F8-A5BD-7C7A56D99F30}" type="datetime1">
              <a:rPr lang="en-GB" noProof="0" smtClean="0"/>
              <a:t>15/05/2024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5A123C-D5F4-42D3-D30B-8B38B6232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noProof="0"/>
              <a:t>Footer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CA12AE2F-A162-2D37-2A73-47F654D3CE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5324583"/>
              </p:ext>
            </p:extLst>
          </p:nvPr>
        </p:nvGraphicFramePr>
        <p:xfrm>
          <a:off x="271585" y="1471738"/>
          <a:ext cx="8984709" cy="4892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94903">
                  <a:extLst>
                    <a:ext uri="{9D8B030D-6E8A-4147-A177-3AD203B41FA5}">
                      <a16:colId xmlns:a16="http://schemas.microsoft.com/office/drawing/2014/main" val="580535023"/>
                    </a:ext>
                  </a:extLst>
                </a:gridCol>
                <a:gridCol w="2989933">
                  <a:extLst>
                    <a:ext uri="{9D8B030D-6E8A-4147-A177-3AD203B41FA5}">
                      <a16:colId xmlns:a16="http://schemas.microsoft.com/office/drawing/2014/main" val="553543775"/>
                    </a:ext>
                  </a:extLst>
                </a:gridCol>
                <a:gridCol w="2999873">
                  <a:extLst>
                    <a:ext uri="{9D8B030D-6E8A-4147-A177-3AD203B41FA5}">
                      <a16:colId xmlns:a16="http://schemas.microsoft.com/office/drawing/2014/main" val="516329293"/>
                    </a:ext>
                  </a:extLst>
                </a:gridCol>
              </a:tblGrid>
              <a:tr h="246303">
                <a:tc>
                  <a:txBody>
                    <a:bodyPr/>
                    <a:lstStyle/>
                    <a:p>
                      <a:r>
                        <a:rPr lang="en-US" dirty="0"/>
                        <a:t>What we have n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hat we might w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here we can get it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876593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C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Customer feed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0288127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Rental 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/>
                        <a:t>DIFOT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9763357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Deliv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icing (contract date* --renewal)</a:t>
                      </a:r>
                      <a:br>
                        <a:rPr lang="en-US" sz="1100" dirty="0"/>
                      </a:br>
                      <a:r>
                        <a:rPr lang="en-US" sz="1100" dirty="0"/>
                        <a:t>(pricing ban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0403950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 err="1"/>
                        <a:t>CDA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Contact custome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alesforce (activity)(events log)</a:t>
                      </a:r>
                      <a:br>
                        <a:rPr lang="en-US" sz="1100" dirty="0"/>
                      </a:br>
                      <a:r>
                        <a:rPr lang="en-US" sz="1100" dirty="0"/>
                        <a:t>workforce potential </a:t>
                      </a:r>
                      <a:br>
                        <a:rPr lang="en-US" sz="1100" dirty="0"/>
                      </a:br>
                      <a:r>
                        <a:rPr lang="en-US" sz="1100" dirty="0"/>
                        <a:t>direct sale rep</a:t>
                      </a:r>
                      <a:br>
                        <a:rPr lang="en-US" sz="1100" dirty="0"/>
                      </a:br>
                      <a:br>
                        <a:rPr lang="en-US" sz="1100" dirty="0"/>
                      </a:br>
                      <a:r>
                        <a:rPr lang="en-US" sz="1100" dirty="0"/>
                        <a:t>customer holding dispute/ pricing / product / </a:t>
                      </a:r>
                      <a:r>
                        <a:rPr lang="en-US" sz="1100" dirty="0" err="1"/>
                        <a:t>upsale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opp</a:t>
                      </a:r>
                      <a:br>
                        <a:rPr lang="en-US" sz="1100" dirty="0"/>
                      </a:br>
                      <a:br>
                        <a:rPr lang="en-US" sz="1100" dirty="0"/>
                      </a:br>
                      <a:r>
                        <a:rPr lang="en-US" sz="1100" dirty="0"/>
                        <a:t>* resolution code</a:t>
                      </a:r>
                      <a:br>
                        <a:rPr lang="en-US" sz="1100" dirty="0"/>
                      </a:br>
                      <a:r>
                        <a:rPr lang="en-US" sz="1100" dirty="0"/>
                        <a:t>(retention)</a:t>
                      </a:r>
                      <a:br>
                        <a:rPr lang="en-US" sz="1100" dirty="0"/>
                      </a:b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402311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Indus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ducts (associated product by secto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8255136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Product 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2774040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Sales Q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3610902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Rental period (daily/monthly/…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2923359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Pl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544923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Posting peri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Possible Sale Actions* outp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058499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r>
                        <a:rPr lang="en-US" sz="1100" dirty="0"/>
                        <a:t>Holi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268034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4703E9A-0608-B28C-19E0-2957983D04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9592" y="2214796"/>
            <a:ext cx="6021922" cy="359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223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49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MUa3J1917H5rxHnx.2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73qmD22hHvQPLGy4tM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OPOqrW_3oVORgt23sQ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8uo7TKXPQL0qHAzZyh3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er_TG1XNNdg7asZ0sO_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X9PS.xrb96g2E2Wj.J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lycF4r1VAkqufQfVhr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XGWmQKSuR_pSwzyIdf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VCRyVjCdsdOTbpMKq4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B9fRIqr_Z_nXEuu4NV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HqoTDINV9kXJjfDcm1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C9jQ7XNebjLxy_J6To2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.JYyQ0YChFn4vCv0P0.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AUjSXTMatCFbGvZPb0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7kl_g1NxE8b6ctehW4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61LzJNk9SFT34xdewd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TDNqaJU0tVQ3PkIpV1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PoXFhIqfqHfhEeXWUEH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8JQjCXtVUXskQJ7yuLe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6xcBL0wA12Z7_dWZLz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.JYyQ0YChFn4vCv0P0.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ahdBOMk4pmfHCfNbrN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27_m0MY312MQUsr2uz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QZg1KzoLTQsedHHaQ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DQZWKzwhXrCnpV9TEv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4R_ft_PmsYfIcFxcnQ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rrnMejpqpFAYJLtQDW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3iXySWUbReRjaJGOfBAA"/>
</p:tagLst>
</file>

<file path=ppt/theme/theme1.xml><?xml version="1.0" encoding="utf-8"?>
<a:theme xmlns:a="http://schemas.openxmlformats.org/drawingml/2006/main" name="Linde">
  <a:themeElements>
    <a:clrScheme name="LINDE 2017-03-02">
      <a:dk1>
        <a:srgbClr val="000000"/>
      </a:dk1>
      <a:lt1>
        <a:srgbClr val="FFFFFF"/>
      </a:lt1>
      <a:dk2>
        <a:srgbClr val="00A0E1"/>
      </a:dk2>
      <a:lt2>
        <a:srgbClr val="E8E9EB"/>
      </a:lt2>
      <a:accent1>
        <a:srgbClr val="005591"/>
      </a:accent1>
      <a:accent2>
        <a:srgbClr val="4D88B2"/>
      </a:accent2>
      <a:accent3>
        <a:srgbClr val="80AAC8"/>
      </a:accent3>
      <a:accent4>
        <a:srgbClr val="B3CCDE"/>
      </a:accent4>
      <a:accent5>
        <a:srgbClr val="00A0E1"/>
      </a:accent5>
      <a:accent6>
        <a:srgbClr val="6E7878"/>
      </a:accent6>
      <a:hlink>
        <a:srgbClr val="000000"/>
      </a:hlink>
      <a:folHlink>
        <a:srgbClr val="000000"/>
      </a:folHlink>
    </a:clrScheme>
    <a:fontScheme name="Linde-PPT-2010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82800" numCol="1" rtlCol="0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 typeface="LindeDaxPowerPoint" panose="020B0500000000020000" pitchFamily="34" charset="0"/>
          <a:buChar char="–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82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indeDaxPowerPoint" pitchFamily="34" charset="0"/>
          </a:defRPr>
        </a:defPPr>
      </a:lstStyle>
    </a:lnDef>
  </a:objectDefaults>
  <a:extraClrSchemeLst/>
  <a:custClrLst>
    <a:custClr name="Linde Blue">
      <a:srgbClr val="005591"/>
    </a:custClr>
    <a:custClr name="Linde Cyan">
      <a:srgbClr val="00A0E1"/>
    </a:custClr>
    <a:custClr name="Linde Dark Blue">
      <a:srgbClr val="002D5A"/>
    </a:custClr>
    <a:custClr name="Linde Gray 4">
      <a:srgbClr val="6E7878"/>
    </a:custClr>
    <a:custClr name="Linde Signal Red">
      <a:srgbClr val="E1000F"/>
    </a:custClr>
    <a:custClr name="Linde Signal Orange">
      <a:srgbClr val="DC7800"/>
    </a:custClr>
    <a:custClr name="Linde Signal Yellow">
      <a:srgbClr val="FFD200"/>
    </a:custClr>
    <a:custClr name="Linde Signal Turquoise">
      <a:srgbClr val="009B9B"/>
    </a:custClr>
    <a:custClr name="Linde Signal Green">
      <a:srgbClr val="009B3C"/>
    </a:custClr>
    <a:custClr name="Linde Neon Green">
      <a:srgbClr val="BECD00"/>
    </a:custClr>
    <a:custClr name="Linde Light Gray">
      <a:srgbClr val="D2E1EB"/>
    </a:custClr>
    <a:custClr name="Linde Blue Gray 1">
      <a:srgbClr val="BEC8D7"/>
    </a:custClr>
    <a:custClr name="Linde Blue Gray 2">
      <a:srgbClr val="96A5B4"/>
    </a:custClr>
    <a:custClr name="Linde Blue Gray 3">
      <a:srgbClr val="467391"/>
    </a:custClr>
    <a:custClr name="Linde Gray 1">
      <a:srgbClr val="D7E1E6"/>
    </a:custClr>
    <a:custClr name="Linde Gray 2">
      <a:srgbClr val="CDD2CD"/>
    </a:custClr>
    <a:custClr name="Linde Gray 3">
      <a:srgbClr val="B9BEB4"/>
    </a:custClr>
    <a:custClr name="Linde Brown 1">
      <a:srgbClr val="E1DCCD"/>
    </a:custClr>
    <a:custClr name="Linde Brown 2">
      <a:srgbClr val="CDC3AA"/>
    </a:custClr>
    <a:custClr name="Linde Brown 3">
      <a:srgbClr val="BEB49B"/>
    </a:custClr>
    <a:custClr name="Linde Green 1">
      <a:srgbClr val="E1EBB4"/>
    </a:custClr>
    <a:custClr name="Linde Green 2">
      <a:srgbClr val="AFB478"/>
    </a:custClr>
    <a:custClr name="Linde Green 3">
      <a:srgbClr val="787D46"/>
    </a:custClr>
  </a:custClrLst>
  <a:extLst>
    <a:ext uri="{05A4C25C-085E-4340-85A3-A5531E510DB2}">
      <thm15:themeFamily xmlns:thm15="http://schemas.microsoft.com/office/thememl/2012/main" name="Linde_plc_presentation_2018_16x9.potx" id="{A1A4AE88-F423-4087-BA1A-ACC547113B4F}" vid="{C234AFB5-6690-4EAD-A78B-3EB067FAEA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BC0DC4867E5743BCE02C145058C964" ma:contentTypeVersion="14" ma:contentTypeDescription="Create a new document." ma:contentTypeScope="" ma:versionID="0c81d47a38a24ac5576eef8e1e3613c7">
  <xsd:schema xmlns:xsd="http://www.w3.org/2001/XMLSchema" xmlns:xs="http://www.w3.org/2001/XMLSchema" xmlns:p="http://schemas.microsoft.com/office/2006/metadata/properties" xmlns:ns2="3746d2dd-4980-47fb-8aea-e5785a5f740d" xmlns:ns3="2d823991-3739-4239-99c1-06f7cbcef1c6" targetNamespace="http://schemas.microsoft.com/office/2006/metadata/properties" ma:root="true" ma:fieldsID="ade26599ce10566b12e925337c64df6e" ns2:_="" ns3:_="">
    <xsd:import namespace="3746d2dd-4980-47fb-8aea-e5785a5f740d"/>
    <xsd:import namespace="2d823991-3739-4239-99c1-06f7cbcef1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46d2dd-4980-47fb-8aea-e5785a5f74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e315aa8-bd96-4598-8e4a-1d3aeb7b64c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823991-3739-4239-99c1-06f7cbcef1c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9fa5864-bb55-4b1d-b23f-68b23c8fbdd6}" ma:internalName="TaxCatchAll" ma:showField="CatchAllData" ma:web="2d823991-3739-4239-99c1-06f7cbcef1c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d823991-3739-4239-99c1-06f7cbcef1c6" xsi:nil="true"/>
    <lcf76f155ced4ddcb4097134ff3c332f xmlns="3746d2dd-4980-47fb-8aea-e5785a5f740d">
      <Terms xmlns="http://schemas.microsoft.com/office/infopath/2007/PartnerControls"/>
    </lcf76f155ced4ddcb4097134ff3c332f>
    <SharedWithUsers xmlns="2d823991-3739-4239-99c1-06f7cbcef1c6">
      <UserInfo>
        <DisplayName>Michelle Brankovic</DisplayName>
        <AccountId>3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80B9593-5778-4FFC-8B1F-E9993114AD64}">
  <ds:schemaRefs>
    <ds:schemaRef ds:uri="2d823991-3739-4239-99c1-06f7cbcef1c6"/>
    <ds:schemaRef ds:uri="3746d2dd-4980-47fb-8aea-e5785a5f740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B236DD5-D9F3-4532-ABC5-99330E77C2E4}">
  <ds:schemaRefs>
    <ds:schemaRef ds:uri="http://schemas.microsoft.com/office/2006/metadata/properties"/>
    <ds:schemaRef ds:uri="2d823991-3739-4239-99c1-06f7cbcef1c6"/>
    <ds:schemaRef ds:uri="http://purl.org/dc/terms/"/>
    <ds:schemaRef ds:uri="3746d2dd-4980-47fb-8aea-e5785a5f740d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5F2E4E7-1EDA-4EF4-853C-4471C4AA37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3</Words>
  <Application>Microsoft Office PowerPoint</Application>
  <PresentationFormat>Widescreen</PresentationFormat>
  <Paragraphs>5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Calibri</vt:lpstr>
      <vt:lpstr>LindeDaxPowerPoint</vt:lpstr>
      <vt:lpstr>Symbol</vt:lpstr>
      <vt:lpstr>Wingdings</vt:lpstr>
      <vt:lpstr>Linde</vt:lpstr>
      <vt:lpstr>think-cell Slide</vt:lpstr>
      <vt:lpstr>Next Best Action Notes</vt:lpstr>
      <vt:lpstr>Roadmap</vt:lpstr>
      <vt:lpstr>Customer Churn Prediction (Data reqirement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ormative AI initiative Back-calculation - overview</dc:title>
  <dc:creator>Philipp von Breitenbuch</dc:creator>
  <cp:lastModifiedBy>Bryce Zeng</cp:lastModifiedBy>
  <cp:revision>10</cp:revision>
  <cp:lastPrinted>2023-08-21T03:18:06Z</cp:lastPrinted>
  <dcterms:created xsi:type="dcterms:W3CDTF">2023-07-03T08:42:16Z</dcterms:created>
  <dcterms:modified xsi:type="dcterms:W3CDTF">2024-05-15T09:3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BC0DC4867E5743BCE02C145058C964</vt:lpwstr>
  </property>
  <property fmtid="{D5CDD505-2E9C-101B-9397-08002B2CF9AE}" pid="3" name="MediaServiceImageTags">
    <vt:lpwstr/>
  </property>
</Properties>
</file>